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</p:sldMasterIdLst>
  <p:notesMasterIdLst>
    <p:notesMasterId r:id="rId7"/>
  </p:notesMasterIdLst>
  <p:sldIdLst>
    <p:sldId id="4327" r:id="rId2"/>
    <p:sldId id="4364" r:id="rId3"/>
    <p:sldId id="4361" r:id="rId4"/>
    <p:sldId id="4363" r:id="rId5"/>
    <p:sldId id="4365" r:id="rId6"/>
  </p:sldIdLst>
  <p:sldSz cx="9144000" cy="6858000" type="screen4x3"/>
  <p:notesSz cx="7010400" cy="92964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8" userDrawn="1">
          <p15:clr>
            <a:srgbClr val="A4A3A4"/>
          </p15:clr>
        </p15:guide>
        <p15:guide id="2" pos="56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yberg, Yonatan" initials="TY" lastIdx="11" clrIdx="0"/>
  <p:cmAuthor id="2" name="Vanessa Lion" initials="VL" lastIdx="4" clrIdx="1"/>
  <p:cmAuthor id="3" name="Bugin, Kevin" initials="BK" lastIdx="2" clrIdx="2"/>
  <p:cmAuthor id="4" name="Microsoft Office User" initials="MOU" lastIdx="1" clrIdx="3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BEE6"/>
    <a:srgbClr val="248FC5"/>
    <a:srgbClr val="226180"/>
    <a:srgbClr val="FFC000"/>
    <a:srgbClr val="BDDEED"/>
    <a:srgbClr val="F4803C"/>
    <a:srgbClr val="BDDD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53" autoAdjust="0"/>
    <p:restoredTop sz="91240" autoAdjust="0"/>
  </p:normalViewPr>
  <p:slideViewPr>
    <p:cSldViewPr snapToGrid="0">
      <p:cViewPr varScale="1">
        <p:scale>
          <a:sx n="100" d="100"/>
          <a:sy n="100" d="100"/>
        </p:scale>
        <p:origin x="2130" y="72"/>
      </p:cViewPr>
      <p:guideLst>
        <p:guide orient="horz" pos="408"/>
        <p:guide pos="56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Bugin" userId="25853827d76636b5" providerId="LiveId" clId="{498AC2DF-B193-4CFE-AA1F-4A2980344291}"/>
    <pc:docChg chg="delSld modSld">
      <pc:chgData name="Kevin Bugin" userId="25853827d76636b5" providerId="LiveId" clId="{498AC2DF-B193-4CFE-AA1F-4A2980344291}" dt="2021-07-05T15:40:27.564" v="11" actId="6549"/>
      <pc:docMkLst>
        <pc:docMk/>
      </pc:docMkLst>
      <pc:sldChg chg="del">
        <pc:chgData name="Kevin Bugin" userId="25853827d76636b5" providerId="LiveId" clId="{498AC2DF-B193-4CFE-AA1F-4A2980344291}" dt="2021-07-05T15:39:46.852" v="4" actId="47"/>
        <pc:sldMkLst>
          <pc:docMk/>
          <pc:sldMk cId="2824025041" sldId="260"/>
        </pc:sldMkLst>
      </pc:sldChg>
      <pc:sldChg chg="del">
        <pc:chgData name="Kevin Bugin" userId="25853827d76636b5" providerId="LiveId" clId="{498AC2DF-B193-4CFE-AA1F-4A2980344291}" dt="2021-07-05T15:39:48.868" v="6" actId="47"/>
        <pc:sldMkLst>
          <pc:docMk/>
          <pc:sldMk cId="3685465308" sldId="4328"/>
        </pc:sldMkLst>
      </pc:sldChg>
      <pc:sldChg chg="del">
        <pc:chgData name="Kevin Bugin" userId="25853827d76636b5" providerId="LiveId" clId="{498AC2DF-B193-4CFE-AA1F-4A2980344291}" dt="2021-07-05T15:39:50.120" v="8" actId="47"/>
        <pc:sldMkLst>
          <pc:docMk/>
          <pc:sldMk cId="693173073" sldId="4343"/>
        </pc:sldMkLst>
      </pc:sldChg>
      <pc:sldChg chg="del">
        <pc:chgData name="Kevin Bugin" userId="25853827d76636b5" providerId="LiveId" clId="{498AC2DF-B193-4CFE-AA1F-4A2980344291}" dt="2021-07-05T15:39:49.448" v="7" actId="47"/>
        <pc:sldMkLst>
          <pc:docMk/>
          <pc:sldMk cId="2802808068" sldId="4354"/>
        </pc:sldMkLst>
      </pc:sldChg>
      <pc:sldChg chg="del">
        <pc:chgData name="Kevin Bugin" userId="25853827d76636b5" providerId="LiveId" clId="{498AC2DF-B193-4CFE-AA1F-4A2980344291}" dt="2021-07-05T15:39:42.498" v="2" actId="47"/>
        <pc:sldMkLst>
          <pc:docMk/>
          <pc:sldMk cId="1386330709" sldId="4355"/>
        </pc:sldMkLst>
      </pc:sldChg>
      <pc:sldChg chg="del">
        <pc:chgData name="Kevin Bugin" userId="25853827d76636b5" providerId="LiveId" clId="{498AC2DF-B193-4CFE-AA1F-4A2980344291}" dt="2021-07-05T15:39:43.075" v="3" actId="47"/>
        <pc:sldMkLst>
          <pc:docMk/>
          <pc:sldMk cId="2532615578" sldId="4357"/>
        </pc:sldMkLst>
      </pc:sldChg>
      <pc:sldChg chg="del">
        <pc:chgData name="Kevin Bugin" userId="25853827d76636b5" providerId="LiveId" clId="{498AC2DF-B193-4CFE-AA1F-4A2980344291}" dt="2021-07-05T15:39:48.094" v="5" actId="47"/>
        <pc:sldMkLst>
          <pc:docMk/>
          <pc:sldMk cId="1553887399" sldId="4359"/>
        </pc:sldMkLst>
      </pc:sldChg>
      <pc:sldChg chg="del">
        <pc:chgData name="Kevin Bugin" userId="25853827d76636b5" providerId="LiveId" clId="{498AC2DF-B193-4CFE-AA1F-4A2980344291}" dt="2021-07-05T15:39:41.343" v="1" actId="47"/>
        <pc:sldMkLst>
          <pc:docMk/>
          <pc:sldMk cId="2754546107" sldId="4360"/>
        </pc:sldMkLst>
      </pc:sldChg>
      <pc:sldChg chg="modSp mod">
        <pc:chgData name="Kevin Bugin" userId="25853827d76636b5" providerId="LiveId" clId="{498AC2DF-B193-4CFE-AA1F-4A2980344291}" dt="2021-07-05T15:40:17.613" v="10" actId="5793"/>
        <pc:sldMkLst>
          <pc:docMk/>
          <pc:sldMk cId="3459259537" sldId="4361"/>
        </pc:sldMkLst>
        <pc:spChg chg="mod">
          <ac:chgData name="Kevin Bugin" userId="25853827d76636b5" providerId="LiveId" clId="{498AC2DF-B193-4CFE-AA1F-4A2980344291}" dt="2021-07-05T15:40:17.613" v="10" actId="5793"/>
          <ac:spMkLst>
            <pc:docMk/>
            <pc:sldMk cId="3459259537" sldId="4361"/>
            <ac:spMk id="4" creationId="{F794A001-DC44-4BC7-9C18-F96CAF0A6468}"/>
          </ac:spMkLst>
        </pc:spChg>
      </pc:sldChg>
      <pc:sldChg chg="modSp mod">
        <pc:chgData name="Kevin Bugin" userId="25853827d76636b5" providerId="LiveId" clId="{498AC2DF-B193-4CFE-AA1F-4A2980344291}" dt="2021-07-05T15:40:27.564" v="11" actId="6549"/>
        <pc:sldMkLst>
          <pc:docMk/>
          <pc:sldMk cId="1442615877" sldId="4365"/>
        </pc:sldMkLst>
        <pc:spChg chg="mod">
          <ac:chgData name="Kevin Bugin" userId="25853827d76636b5" providerId="LiveId" clId="{498AC2DF-B193-4CFE-AA1F-4A2980344291}" dt="2021-07-05T15:40:27.564" v="11" actId="6549"/>
          <ac:spMkLst>
            <pc:docMk/>
            <pc:sldMk cId="1442615877" sldId="4365"/>
            <ac:spMk id="10" creationId="{38ED530F-1A6F-4D5A-BA8C-7AC80690A994}"/>
          </ac:spMkLst>
        </pc:spChg>
      </pc:sldChg>
      <pc:sldChg chg="del">
        <pc:chgData name="Kevin Bugin" userId="25853827d76636b5" providerId="LiveId" clId="{498AC2DF-B193-4CFE-AA1F-4A2980344291}" dt="2021-07-05T15:39:39.489" v="0" actId="47"/>
        <pc:sldMkLst>
          <pc:docMk/>
          <pc:sldMk cId="303719745" sldId="4366"/>
        </pc:sldMkLst>
      </pc:sldChg>
    </pc:docChg>
  </pc:docChgLst>
  <pc:docChgLst>
    <pc:chgData name="Kevin Bugin" userId="25853827d76636b5" providerId="LiveId" clId="{0C3EF0E8-ECEB-CC4C-A50F-29CB982D3E39}"/>
    <pc:docChg chg="custSel addSld modSld">
      <pc:chgData name="Kevin Bugin" userId="25853827d76636b5" providerId="LiveId" clId="{0C3EF0E8-ECEB-CC4C-A50F-29CB982D3E39}" dt="2020-06-10T19:36:37.636" v="143" actId="20577"/>
      <pc:docMkLst>
        <pc:docMk/>
      </pc:docMkLst>
      <pc:sldChg chg="modSp">
        <pc:chgData name="Kevin Bugin" userId="25853827d76636b5" providerId="LiveId" clId="{0C3EF0E8-ECEB-CC4C-A50F-29CB982D3E39}" dt="2020-06-03T16:53:47.483" v="113" actId="20577"/>
        <pc:sldMkLst>
          <pc:docMk/>
          <pc:sldMk cId="3459259537" sldId="4361"/>
        </pc:sldMkLst>
        <pc:spChg chg="mod">
          <ac:chgData name="Kevin Bugin" userId="25853827d76636b5" providerId="LiveId" clId="{0C3EF0E8-ECEB-CC4C-A50F-29CB982D3E39}" dt="2020-06-03T16:53:47.483" v="113" actId="20577"/>
          <ac:spMkLst>
            <pc:docMk/>
            <pc:sldMk cId="3459259537" sldId="4361"/>
            <ac:spMk id="4" creationId="{F794A001-DC44-4BC7-9C18-F96CAF0A6468}"/>
          </ac:spMkLst>
        </pc:spChg>
      </pc:sldChg>
      <pc:sldChg chg="modSp">
        <pc:chgData name="Kevin Bugin" userId="25853827d76636b5" providerId="LiveId" clId="{0C3EF0E8-ECEB-CC4C-A50F-29CB982D3E39}" dt="2020-06-10T19:36:37.636" v="143" actId="20577"/>
        <pc:sldMkLst>
          <pc:docMk/>
          <pc:sldMk cId="1099722414" sldId="4363"/>
        </pc:sldMkLst>
        <pc:spChg chg="mod">
          <ac:chgData name="Kevin Bugin" userId="25853827d76636b5" providerId="LiveId" clId="{0C3EF0E8-ECEB-CC4C-A50F-29CB982D3E39}" dt="2020-06-10T19:36:37.636" v="143" actId="20577"/>
          <ac:spMkLst>
            <pc:docMk/>
            <pc:sldMk cId="1099722414" sldId="4363"/>
            <ac:spMk id="4" creationId="{F794A001-DC44-4BC7-9C18-F96CAF0A6468}"/>
          </ac:spMkLst>
        </pc:spChg>
      </pc:sldChg>
      <pc:sldChg chg="addSp delSp modSp add">
        <pc:chgData name="Kevin Bugin" userId="25853827d76636b5" providerId="LiveId" clId="{0C3EF0E8-ECEB-CC4C-A50F-29CB982D3E39}" dt="2020-06-03T16:55:36.380" v="127" actId="1076"/>
        <pc:sldMkLst>
          <pc:docMk/>
          <pc:sldMk cId="303719745" sldId="4366"/>
        </pc:sldMkLst>
        <pc:spChg chg="del">
          <ac:chgData name="Kevin Bugin" userId="25853827d76636b5" providerId="LiveId" clId="{0C3EF0E8-ECEB-CC4C-A50F-29CB982D3E39}" dt="2020-06-03T16:55:09.890" v="117" actId="931"/>
          <ac:spMkLst>
            <pc:docMk/>
            <pc:sldMk cId="303719745" sldId="4366"/>
            <ac:spMk id="3" creationId="{26653A33-ADE9-454E-86F0-C47E17F143AB}"/>
          </ac:spMkLst>
        </pc:spChg>
        <pc:spChg chg="add del mod">
          <ac:chgData name="Kevin Bugin" userId="25853827d76636b5" providerId="LiveId" clId="{0C3EF0E8-ECEB-CC4C-A50F-29CB982D3E39}" dt="2020-06-03T16:54:58.007" v="116" actId="478"/>
          <ac:spMkLst>
            <pc:docMk/>
            <pc:sldMk cId="303719745" sldId="4366"/>
            <ac:spMk id="4" creationId="{AED99129-0DE3-3647-A56C-B2632C6CA4E5}"/>
          </ac:spMkLst>
        </pc:spChg>
        <pc:picChg chg="add mod">
          <ac:chgData name="Kevin Bugin" userId="25853827d76636b5" providerId="LiveId" clId="{0C3EF0E8-ECEB-CC4C-A50F-29CB982D3E39}" dt="2020-06-03T16:55:36.380" v="127" actId="1076"/>
          <ac:picMkLst>
            <pc:docMk/>
            <pc:sldMk cId="303719745" sldId="4366"/>
            <ac:picMk id="6" creationId="{B1A40029-754E-DD49-8F6B-56787C701749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17CF4BE-8702-4218-A9B4-6F949FF6F1AE}" type="datetimeFigureOut">
              <a:rPr lang="en-US" smtClean="0"/>
              <a:t>7/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200CD42-733B-426A-9F1F-1B82B67B1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3268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57193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57D44B-AC0C-4E65-962A-096DE44970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84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65" b="1" i="0" baseline="0" dirty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/>
          <a:srcRect r="52878"/>
          <a:stretch/>
        </p:blipFill>
        <p:spPr bwMode="ltGray">
          <a:xfrm>
            <a:off x="4987465" y="1"/>
            <a:ext cx="4156536" cy="6853108"/>
          </a:xfrm>
          <a:prstGeom prst="rect">
            <a:avLst/>
          </a:prstGeom>
        </p:spPr>
      </p:pic>
      <p:sp>
        <p:nvSpPr>
          <p:cNvPr id="12" name="Rectangle 3"/>
          <p:cNvSpPr>
            <a:spLocks noChangeArrowheads="1"/>
          </p:cNvSpPr>
          <p:nvPr/>
        </p:nvSpPr>
        <p:spPr bwMode="ltGray">
          <a:xfrm>
            <a:off x="0" y="298033"/>
            <a:ext cx="9144000" cy="103177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lang="en-US" sz="1837" dirty="0"/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23539" y="3129349"/>
            <a:ext cx="5822181" cy="50244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3265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23539" y="4654843"/>
            <a:ext cx="5822181" cy="282625"/>
          </a:xfrm>
        </p:spPr>
        <p:txBody>
          <a:bodyPr wrap="square">
            <a:spAutoFit/>
          </a:bodyPr>
          <a:lstStyle>
            <a:lvl1pPr>
              <a:defRPr sz="1837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30" name="Picture 2" descr="FDA Logo Blue Larg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151093" y="386129"/>
            <a:ext cx="3775849" cy="855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ocument type" hidden="1">
            <a:extLst>
              <a:ext uri="{FF2B5EF4-FFF2-40B4-BE49-F238E27FC236}">
                <a16:creationId xmlns:a16="http://schemas.microsoft.com/office/drawing/2014/main" id="{0F18849D-A662-4F85-9DB4-6E254EAEC8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3539" y="5960515"/>
            <a:ext cx="5822181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2585852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0652270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2D4202A-D9E9-44A2-AF06-A7E8A0BBB7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39" b="1" i="0" baseline="0" dirty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2" name="TextBox 1"/>
          <p:cNvSpPr txBox="1"/>
          <p:nvPr/>
        </p:nvSpPr>
        <p:spPr>
          <a:xfrm>
            <a:off x="3239" y="2783443"/>
            <a:ext cx="4503157" cy="382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837" dirty="0"/>
          </a:p>
        </p:txBody>
      </p:sp>
    </p:spTree>
    <p:extLst>
      <p:ext uri="{BB962C8B-B14F-4D97-AF65-F5344CB8AC3E}">
        <p14:creationId xmlns:p14="http://schemas.microsoft.com/office/powerpoint/2010/main" val="26680547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5F8EEE-8533-464B-AB91-5FD3EC8389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36039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5A8AA7-AE48-491B-9A1F-2FAE4E52B8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6AFCB6-16DC-498A-82B5-A862BEB56A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1D7B54-7644-4951-B3BA-8621C187DB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C980F-0711-4845-BE05-2F2A2B232B24}" type="datetimeFigureOut">
              <a:rPr lang="en-US" smtClean="0"/>
              <a:t>7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57C2BD-8EEF-45C6-8660-567C2DB342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AE551E-6283-4B6B-BBB6-169E967E89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DD2BA-265B-4841-AFF1-58C60230FD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9025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5" Type="http://schemas.openxmlformats.org/officeDocument/2006/relationships/theme" Target="../theme/theme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image" Target="../media/image3.tif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6807104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CA2E883-D91B-466A-B26C-561BC596D16C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61984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 dirty="0" err="1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cs typeface="Arial Unicode MS" panose="020B0604020202020204" pitchFamily="34" charset="-128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509985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5" y="349008"/>
            <a:ext cx="8286927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4944" y="77171"/>
            <a:ext cx="51196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  <a:endParaRPr lang="en-US" sz="714" baseline="0" noProof="0" dirty="0">
              <a:solidFill>
                <a:srgbClr val="808080"/>
              </a:solidFill>
              <a:latin typeface="+mn-lt"/>
              <a:ea typeface="+mj-ea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850749"/>
            <a:ext cx="4389768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7991515" y="6556392"/>
            <a:ext cx="161931" cy="160154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20" smtClean="0"/>
              <a:pPr lvl="0" algn="r"/>
              <a:t>‹#›</a:t>
            </a:fld>
            <a:endParaRPr lang="en-US" sz="1020" dirty="0"/>
          </a:p>
        </p:txBody>
      </p:sp>
      <p:sp>
        <p:nvSpPr>
          <p:cNvPr id="92" name="Line 14"/>
          <p:cNvSpPr>
            <a:spLocks noChangeShapeType="1"/>
          </p:cNvSpPr>
          <p:nvPr/>
        </p:nvSpPr>
        <p:spPr bwMode="ltGray">
          <a:xfrm>
            <a:off x="1775029" y="6438487"/>
            <a:ext cx="7368971" cy="0"/>
          </a:xfrm>
          <a:prstGeom prst="line">
            <a:avLst/>
          </a:prstGeom>
          <a:noFill/>
          <a:ln w="1651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sz="1837" dirty="0"/>
          </a:p>
        </p:txBody>
      </p:sp>
      <p:sp>
        <p:nvSpPr>
          <p:cNvPr id="61" name="4. Footnot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74945" y="6084735"/>
            <a:ext cx="8794113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20" baseline="0" noProof="0" dirty="0">
                <a:latin typeface="+mn-lt"/>
              </a:rPr>
              <a:t>1 Footnote</a:t>
            </a:r>
          </a:p>
        </p:txBody>
      </p:sp>
      <p:sp>
        <p:nvSpPr>
          <p:cNvPr id="62" name="5. Source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772764" y="6568166"/>
            <a:ext cx="6774229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479439" indent="-479439" defTabSz="913526">
              <a:tabLst>
                <a:tab pos="489157" algn="l"/>
              </a:tabLst>
            </a:pPr>
            <a:r>
              <a:rPr lang="en-US" sz="1020" baseline="0" noProof="0" dirty="0">
                <a:solidFill>
                  <a:schemeClr val="tx1"/>
                </a:solidFill>
                <a:latin typeface="+mn-lt"/>
              </a:rPr>
              <a:t>Source: Source</a:t>
            </a:r>
          </a:p>
        </p:txBody>
      </p:sp>
      <p:pic>
        <p:nvPicPr>
          <p:cNvPr id="64" name="Picture 2" descr="FDA Logo Blue Large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9090" y="6281327"/>
            <a:ext cx="1601389" cy="362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Rectangle 64"/>
          <p:cNvSpPr/>
          <p:nvPr/>
        </p:nvSpPr>
        <p:spPr bwMode="ltGray">
          <a:xfrm>
            <a:off x="-2504" y="-2043"/>
            <a:ext cx="9146504" cy="46648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chemeClr val="tx1"/>
              </a:solidFill>
            </a:endParaRPr>
          </a:p>
        </p:txBody>
      </p: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189914" y="954773"/>
            <a:ext cx="788863" cy="1022061"/>
            <a:chOff x="4936" y="176"/>
            <a:chExt cx="487" cy="631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dirty="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875664" y="954773"/>
            <a:ext cx="1103112" cy="749943"/>
            <a:chOff x="4750" y="176"/>
            <a:chExt cx="681" cy="463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dirty="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</p:grpSp>
      <p:grpSp>
        <p:nvGrpSpPr>
          <p:cNvPr id="67" name="LegendMoons" hidden="1"/>
          <p:cNvGrpSpPr/>
          <p:nvPr/>
        </p:nvGrpSpPr>
        <p:grpSpPr bwMode="auto">
          <a:xfrm>
            <a:off x="8121710" y="954773"/>
            <a:ext cx="857161" cy="1333054"/>
            <a:chOff x="5428012" y="273840"/>
            <a:chExt cx="840048" cy="1306516"/>
          </a:xfrm>
        </p:grpSpPr>
        <p:sp>
          <p:nvSpPr>
            <p:cNvPr id="68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69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72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73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86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87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74" name="MoonLegend2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84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85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75" name="MoonLegend3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82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83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76" name="MoonLegend4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8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81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  <p:grpSp>
          <p:nvGrpSpPr>
            <p:cNvPr id="77" name="MoonLegend5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dirty="0">
                  <a:latin typeface="+mn-lt"/>
                </a:endParaRPr>
              </a:p>
            </p:txBody>
          </p:sp>
        </p:grpSp>
      </p:grp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4945" y="932193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rgbClr val="808080"/>
                </a:solidFill>
                <a:latin typeface="+mn-lt"/>
              </a:rPr>
              <a:t>Subtitle</a:t>
            </a:r>
            <a:endParaRPr lang="en-US" sz="1632" baseline="0" noProof="0" dirty="0">
              <a:solidFill>
                <a:srgbClr val="808080"/>
              </a:solidFill>
              <a:latin typeface="+mn-lt"/>
            </a:endParaRPr>
          </a:p>
        </p:txBody>
      </p:sp>
      <p:grpSp>
        <p:nvGrpSpPr>
          <p:cNvPr id="35" name="Sticker" hidden="1"/>
          <p:cNvGrpSpPr/>
          <p:nvPr/>
        </p:nvGrpSpPr>
        <p:grpSpPr bwMode="auto">
          <a:xfrm>
            <a:off x="7696050" y="407586"/>
            <a:ext cx="752862" cy="156360"/>
            <a:chOff x="8002944" y="285750"/>
            <a:chExt cx="737831" cy="153247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8002944" y="285750"/>
              <a:ext cx="737831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chemeClr val="tx2"/>
                </a:buClr>
              </a:pPr>
              <a:r>
                <a:rPr lang="en-US" sz="816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8002944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8002944" y="438997"/>
              <a:ext cx="73783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070CB9B7-D70B-BA4F-AE5E-BA62AAC2B6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/>
          <a:srcRect l="75989" b="48601"/>
          <a:stretch/>
        </p:blipFill>
        <p:spPr>
          <a:xfrm>
            <a:off x="8262403" y="6040850"/>
            <a:ext cx="876841" cy="834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907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9" r:id="rId3"/>
    <p:sldLayoutId id="2147483690" r:id="rId4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39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881090-1E2B-4C7C-AA43-FB9AD4245A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3539" y="2388093"/>
            <a:ext cx="5822181" cy="1784335"/>
          </a:xfrm>
        </p:spPr>
        <p:txBody>
          <a:bodyPr/>
          <a:lstStyle/>
          <a:p>
            <a:r>
              <a:rPr lang="en-US" b="0" dirty="0"/>
              <a:t>Modelling Integration in FDA Team Reviews</a:t>
            </a:r>
            <a:br>
              <a:rPr lang="en-US" b="0" dirty="0"/>
            </a:br>
            <a:br>
              <a:rPr lang="en-US" b="0" dirty="0"/>
            </a:br>
            <a:endParaRPr lang="en-US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C6E1FD-DE80-5A49-B617-24D723FB09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5989" b="48601"/>
          <a:stretch/>
        </p:blipFill>
        <p:spPr>
          <a:xfrm>
            <a:off x="223539" y="384892"/>
            <a:ext cx="876841" cy="834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942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gendabild Ecke unten links">
            <a:extLst>
              <a:ext uri="{FF2B5EF4-FFF2-40B4-BE49-F238E27FC236}">
                <a16:creationId xmlns:a16="http://schemas.microsoft.com/office/drawing/2014/main" id="{56769BC5-F5E3-446C-9CDB-FF898A654E01}"/>
              </a:ext>
            </a:extLst>
          </p:cNvPr>
          <p:cNvPicPr>
            <a:picLocks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1671782"/>
            <a:ext cx="3124200" cy="468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87CEA76-E824-4949-9835-BFAE1E931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for interviewe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94A001-DC44-4BC7-9C18-F96CAF0A6468}"/>
              </a:ext>
            </a:extLst>
          </p:cNvPr>
          <p:cNvSpPr/>
          <p:nvPr/>
        </p:nvSpPr>
        <p:spPr>
          <a:xfrm>
            <a:off x="2382982" y="1126836"/>
            <a:ext cx="5735782" cy="464589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tlCol="0" anchor="ctr"/>
          <a:lstStyle/>
          <a:p>
            <a:r>
              <a:rPr lang="en-US" sz="2400" dirty="0">
                <a:solidFill>
                  <a:schemeClr val="tx1"/>
                </a:solidFill>
              </a:rPr>
              <a:t>Please tell me about yourself, your background, and your role in this review?</a:t>
            </a:r>
          </a:p>
          <a:p>
            <a:endParaRPr lang="en-US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583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CEA76-E824-4949-9835-BFAE1E931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– Issues of Interes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94A001-DC44-4BC7-9C18-F96CAF0A6468}"/>
              </a:ext>
            </a:extLst>
          </p:cNvPr>
          <p:cNvSpPr/>
          <p:nvPr/>
        </p:nvSpPr>
        <p:spPr>
          <a:xfrm>
            <a:off x="1874982" y="1117600"/>
            <a:ext cx="6243782" cy="464589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an you tell me about the key application-specific review issue(s) that you and your team found in your review of this application that impacted the benefits, risks, or benefit-risk assessment? </a:t>
            </a:r>
          </a:p>
          <a:p>
            <a:pPr lvl="0"/>
            <a:endParaRPr lang="en-US" dirty="0">
              <a:solidFill>
                <a:schemeClr val="tx1"/>
              </a:solidFill>
            </a:endParaRPr>
          </a:p>
          <a:p>
            <a:pPr lvl="0"/>
            <a:endParaRPr lang="en-US" dirty="0">
              <a:solidFill>
                <a:schemeClr val="tx1"/>
              </a:solidFill>
            </a:endParaRPr>
          </a:p>
          <a:p>
            <a:pPr marL="285750" lvl="0" indent="-285750">
              <a:buFontTx/>
              <a:buChar char="-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Do you recall where you and your team document the review issue(s) in the Multidisciplinary review?</a:t>
            </a:r>
          </a:p>
          <a:p>
            <a:pPr lvl="0"/>
            <a:endParaRPr lang="en-US" dirty="0">
              <a:solidFill>
                <a:schemeClr val="tx1"/>
              </a:solidFill>
            </a:endParaRPr>
          </a:p>
          <a:p>
            <a:pPr marL="285750" lvl="0" indent="-285750">
              <a:buFontTx/>
              <a:buChar char="-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82BAAE-84E5-43F9-996B-28970A549D07}"/>
              </a:ext>
            </a:extLst>
          </p:cNvPr>
          <p:cNvSpPr/>
          <p:nvPr/>
        </p:nvSpPr>
        <p:spPr>
          <a:xfrm>
            <a:off x="129309" y="1117600"/>
            <a:ext cx="1671782" cy="4645891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Review Issues (Outputs)</a:t>
            </a:r>
          </a:p>
        </p:txBody>
      </p:sp>
    </p:spTree>
    <p:extLst>
      <p:ext uri="{BB962C8B-B14F-4D97-AF65-F5344CB8AC3E}">
        <p14:creationId xmlns:p14="http://schemas.microsoft.com/office/powerpoint/2010/main" val="3459259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7CEA76-E824-4949-9835-BFAE1E931B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 for each Issue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94A001-DC44-4BC7-9C18-F96CAF0A6468}"/>
              </a:ext>
            </a:extLst>
          </p:cNvPr>
          <p:cNvSpPr/>
          <p:nvPr/>
        </p:nvSpPr>
        <p:spPr>
          <a:xfrm>
            <a:off x="1865744" y="1117600"/>
            <a:ext cx="6253019" cy="464589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ow did you or your team come to identify the review issue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hat information, data, analyses, or discussions did you leverage to work through the review issue?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What strategies did you use to resolve review issue and what was the impact of the review issue on the benefit-risk determination</a:t>
            </a:r>
            <a:r>
              <a:rPr lang="en-US" sz="1050" dirty="0">
                <a:solidFill>
                  <a:schemeClr val="tx1"/>
                </a:solidFill>
              </a:rPr>
              <a:t>  </a:t>
            </a:r>
            <a:r>
              <a:rPr lang="en-US" dirty="0">
                <a:solidFill>
                  <a:schemeClr val="tx1"/>
                </a:solidFill>
              </a:rPr>
              <a:t>?</a:t>
            </a:r>
          </a:p>
          <a:p>
            <a:r>
              <a:rPr lang="en-US" dirty="0">
                <a:solidFill>
                  <a:schemeClr val="tx1"/>
                </a:solidFill>
              </a:rPr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ow did you work through the review issue in an integrated way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How would you describe the incorporation of your inputs and contributions into the final documentation of the review issue in the summary review?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D88794-CD41-4495-AA3A-A02CB01E78B8}"/>
              </a:ext>
            </a:extLst>
          </p:cNvPr>
          <p:cNvSpPr/>
          <p:nvPr/>
        </p:nvSpPr>
        <p:spPr>
          <a:xfrm>
            <a:off x="161985" y="1117599"/>
            <a:ext cx="1666815" cy="1496292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Issue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Identification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(Inputs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D6C681-0371-4EEA-AD8F-69859B86C317}"/>
              </a:ext>
            </a:extLst>
          </p:cNvPr>
          <p:cNvSpPr/>
          <p:nvPr/>
        </p:nvSpPr>
        <p:spPr>
          <a:xfrm>
            <a:off x="161981" y="2692399"/>
            <a:ext cx="1666815" cy="3071092"/>
          </a:xfrm>
          <a:prstGeom prst="rect">
            <a:avLst/>
          </a:prstGeom>
          <a:solidFill>
            <a:schemeClr val="tx2"/>
          </a:solidFill>
          <a:ln w="9525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Review Process (Integration)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0A0FCF-DBEF-4342-B76B-5E6E370B2E9C}"/>
              </a:ext>
            </a:extLst>
          </p:cNvPr>
          <p:cNvCxnSpPr/>
          <p:nvPr/>
        </p:nvCxnSpPr>
        <p:spPr>
          <a:xfrm>
            <a:off x="1976582" y="2692399"/>
            <a:ext cx="602210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97224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B61323-6BFA-4C62-A38D-D74C20141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rapping u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FBEA47-DC16-4893-8E7E-09E1C98B19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95AFE09-08E9-4441-8F02-19D028FA98D7}"/>
              </a:ext>
            </a:extLst>
          </p:cNvPr>
          <p:cNvGrpSpPr>
            <a:grpSpLocks/>
          </p:cNvGrpSpPr>
          <p:nvPr/>
        </p:nvGrpSpPr>
        <p:grpSpPr bwMode="gray">
          <a:xfrm>
            <a:off x="2087649" y="2453054"/>
            <a:ext cx="7056351" cy="4404946"/>
            <a:chOff x="2779383" y="2922306"/>
            <a:chExt cx="6364617" cy="393569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C47D23D-F71B-481C-8F47-3652D87A8A91}"/>
                </a:ext>
              </a:extLst>
            </p:cNvPr>
            <p:cNvPicPr>
              <a:picLocks/>
            </p:cNvPicPr>
            <p:nvPr/>
          </p:nvPicPr>
          <p:blipFill>
            <a:blip r:embed="rId2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2779383" y="2922306"/>
              <a:ext cx="6364617" cy="3935695"/>
            </a:xfrm>
            <a:prstGeom prst="rect">
              <a:avLst/>
            </a:prstGeom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F8AE2E5-CF77-4554-AF14-11EED35404FA}"/>
                </a:ext>
              </a:extLst>
            </p:cNvPr>
            <p:cNvGrpSpPr>
              <a:grpSpLocks/>
            </p:cNvGrpSpPr>
            <p:nvPr/>
          </p:nvGrpSpPr>
          <p:grpSpPr bwMode="gray">
            <a:xfrm>
              <a:off x="2779383" y="2922306"/>
              <a:ext cx="6364617" cy="3935695"/>
              <a:chOff x="5086454" y="3744166"/>
              <a:chExt cx="3642520" cy="2429685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CDB06D01-49B6-4660-9DDD-5C70FAB1141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6454" y="3744166"/>
                <a:ext cx="3642520" cy="2429685"/>
              </a:xfrm>
              <a:prstGeom prst="rect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shade val="100000"/>
                      <a:satMod val="115000"/>
                    </a:schemeClr>
                  </a:gs>
                </a:gsLst>
                <a:lin ang="10800000" scaled="1"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A4734C03-0720-495E-8062-590677C574D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6454" y="3744166"/>
                <a:ext cx="3642520" cy="2429685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>
                <a:defPPr>
                  <a:defRPr lang="en-US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8ED530F-1A6F-4D5A-BA8C-7AC80690A994}"/>
              </a:ext>
            </a:extLst>
          </p:cNvPr>
          <p:cNvSpPr txBox="1"/>
          <p:nvPr/>
        </p:nvSpPr>
        <p:spPr>
          <a:xfrm>
            <a:off x="867767" y="1148073"/>
            <a:ext cx="6875362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dirty="0"/>
              <a:t>The information you have shared today will help inform the creation of models of the integration that occurred around the issue(s) we discussed (i.e., the what and how integration occurre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dirty="0"/>
              <a:t>I </a:t>
            </a:r>
            <a:r>
              <a:rPr lang="en-US" sz="1900"/>
              <a:t>will circle </a:t>
            </a:r>
            <a:r>
              <a:rPr lang="en-US" sz="1900" dirty="0"/>
              <a:t>back to you in the near future with models of the integration around the issue(s) you identified for validation—this will likely occur in a focus group setting with others from your review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900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442615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1.00000000000000000000E+00&quot;&gt;&lt;m_msothmcolidx val=&quot;0&quot;/&gt;&lt;m_rgb r=&quot;80&quot; g=&quot;BB&quot; b=&quot;57&quot;/&gt;&lt;m_nBrightness endver=&quot;26206&quot; val=&quot;0&quot;/&gt;&lt;/elem&gt;&lt;elem m_fUsage=&quot;9.00000000000000022204E-01&quot;&gt;&lt;m_msothmcolidx val=&quot;0&quot;/&gt;&lt;m_rgb r=&quot;AB&quot; g=&quot;D2&quot; b=&quot;91&quot;/&gt;&lt;m_nBrightness endver=&quot;26206&quot; val=&quot;0&quot;/&gt;&lt;/elem&gt;&lt;elem m_fUsage=&quot;8.10000000000000053291E-01&quot;&gt;&lt;m_msothmcolidx val=&quot;0&quot;/&gt;&lt;m_rgb r=&quot;A6&quot; g=&quot;5A&quot; b=&quot;27&quot;/&gt;&lt;m_nBrightness endver=&quot;26206&quot; val=&quot;0&quot;/&gt;&lt;/elem&gt;&lt;elem m_fUsage=&quot;7.29000000000000092371E-01&quot;&gt;&lt;m_msothmcolidx val=&quot;0&quot;/&gt;&lt;m_rgb r=&quot;66&quot; g=&quot;33&quot; b=&quot;00&quot;/&gt;&lt;m_nBrightness endver=&quot;26206&quot; val=&quot;0&quot;/&gt;&lt;/elem&gt;&lt;elem m_fUsage=&quot;6.56100000000000127542E-01&quot;&gt;&lt;m_msothmcolidx val=&quot;0&quot;/&gt;&lt;m_rgb r=&quot;54&quot; g=&quot;82&quot; b=&quot;35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MTBTACCENT" val="Text2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KiNlLSQZmXJLSOeKpM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Kk.mEQh9lMfp18fwuq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BduCoQxefHCXbGwQ_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4jGZzFk.9HaZFcpPV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3_CF_UHG096">
  <a:themeElements>
    <a:clrScheme name="Current">
      <a:dk1>
        <a:srgbClr val="000000"/>
      </a:dk1>
      <a:lt1>
        <a:srgbClr val="FFFFFF"/>
      </a:lt1>
      <a:dk2>
        <a:srgbClr val="007DBC"/>
      </a:dk2>
      <a:lt2>
        <a:srgbClr val="FFFFFF"/>
      </a:lt2>
      <a:accent1>
        <a:srgbClr val="BDDDEE"/>
      </a:accent1>
      <a:accent2>
        <a:srgbClr val="6BB4D8"/>
      </a:accent2>
      <a:accent3>
        <a:srgbClr val="389ACB"/>
      </a:accent3>
      <a:accent4>
        <a:srgbClr val="007DBC"/>
      </a:accent4>
      <a:accent5>
        <a:srgbClr val="595959"/>
      </a:accent5>
      <a:accent6>
        <a:srgbClr val="808080"/>
      </a:accent6>
      <a:hlink>
        <a:srgbClr val="389ACB"/>
      </a:hlink>
      <a:folHlink>
        <a:srgbClr val="007DB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7DBC"/>
        </a:dk2>
        <a:lt2>
          <a:srgbClr val="FFFFFF"/>
        </a:lt2>
        <a:accent1>
          <a:srgbClr val="BDDDEE"/>
        </a:accent1>
        <a:accent2>
          <a:srgbClr val="6BB4D8"/>
        </a:accent2>
        <a:accent3>
          <a:srgbClr val="389ACB"/>
        </a:accent3>
        <a:accent4>
          <a:srgbClr val="007DBC"/>
        </a:accent4>
        <a:accent5>
          <a:srgbClr val="595959"/>
        </a:accent5>
        <a:accent6>
          <a:srgbClr val="808080"/>
        </a:accent6>
        <a:hlink>
          <a:srgbClr val="389ACB"/>
        </a:hlink>
        <a:folHlink>
          <a:srgbClr val="007DB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F_UHG096.potx [Read-Only]" id="{43B677E0-1A16-4B2D-96B5-93DB9C45ED98}" vid="{D15285B7-497E-4418-BE56-DB535125F8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20</TotalTime>
  <Words>283</Words>
  <Application>Microsoft Office PowerPoint</Application>
  <PresentationFormat>On-screen Show (4:3)</PresentationFormat>
  <Paragraphs>3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3_CF_UHG096</vt:lpstr>
      <vt:lpstr>think-cell Slide</vt:lpstr>
      <vt:lpstr>Modelling Integration in FDA Team Reviews  </vt:lpstr>
      <vt:lpstr>Introduction for interviewee</vt:lpstr>
      <vt:lpstr>Questions – Issues of Interest</vt:lpstr>
      <vt:lpstr>Questions for each Issue </vt:lpstr>
      <vt:lpstr>Wrapping u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rah Nam</dc:creator>
  <cp:lastModifiedBy>Kevin Bugin</cp:lastModifiedBy>
  <cp:revision>552</cp:revision>
  <cp:lastPrinted>2019-06-25T14:00:39Z</cp:lastPrinted>
  <dcterms:created xsi:type="dcterms:W3CDTF">2019-05-29T16:26:00Z</dcterms:created>
  <dcterms:modified xsi:type="dcterms:W3CDTF">2021-07-05T15:40:28Z</dcterms:modified>
</cp:coreProperties>
</file>